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8" r:id="rId2"/>
  </p:sldIdLst>
  <p:sldSz cx="12192000" cy="6858000"/>
  <p:notesSz cx="6858000" cy="9144000"/>
  <p:custDataLst>
    <p:tags r:id="rId3"/>
  </p:custDataLst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82FE"/>
    <a:srgbClr val="1E9BB4"/>
    <a:srgbClr val="54CAE2"/>
    <a:srgbClr val="6FD3E7"/>
    <a:srgbClr val="FFFFFF"/>
    <a:srgbClr val="B4E8F2"/>
    <a:srgbClr val="7F7F7F"/>
    <a:srgbClr val="E6E6E6"/>
    <a:srgbClr val="AAE4F0"/>
    <a:srgbClr val="5B8F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0994D9-C292-4639-A2FC-1FF0C316E7BD}" v="4" dt="2021-12-07T19:46:21.8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481" autoAdjust="0"/>
    <p:restoredTop sz="94660"/>
  </p:normalViewPr>
  <p:slideViewPr>
    <p:cSldViewPr snapToGrid="0">
      <p:cViewPr>
        <p:scale>
          <a:sx n="100" d="100"/>
          <a:sy n="100" d="100"/>
        </p:scale>
        <p:origin x="690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A630120-F81A-4EF1-A3BC-45E8A541B3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FC084C8-A034-4664-9ED6-AB80905DDB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16CCD2B-7452-4D0D-8F28-5D3E8F75C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A992D14-0925-4AC7-938B-461FD06AB9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FEBD19B-18BF-4712-8D44-35052A80A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6973984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0FE0A9D-1F3B-403B-9B79-C01DC34C93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364E669-C022-460A-B5B1-C1CC02FE29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6D92A97-3088-4026-8A14-261D7E4A2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0077466-2970-4640-B45D-F6CDCBE95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6CF4F1-6CA8-4142-B292-951BC7D3C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0344608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56283B2B-FB0F-4752-A466-C16D07ED5F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7A5F742-8FF7-4E77-AD39-48E100734B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F0D1B93-D1A5-49CC-A854-731D28F3E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BD43B7-8429-4225-A4FD-F903637FC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A6AAFE2-0593-4A2D-942B-848EF83D1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730799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503D87C-7C4D-46F9-8DB9-B141AA70F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303" y="2913363"/>
            <a:ext cx="6794938" cy="1325563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713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6AC1EE-24CC-4C9B-BBBC-A7D9D704D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720B635-8390-4945-BB57-E61033DF02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2DCFE23-B47B-4D6C-BE89-D982219044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D4C9AEB-733D-4065-B160-E0761A2A4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ED02A6E-D83C-450B-B918-7B12348D2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969040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ED2C72-CE0C-4A92-8200-06BEC4B0B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72A4E13-A92C-4718-B62B-4F3B622D29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0CF3A43-C0A5-4A0C-AF06-D639F086D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A479350-9BBA-44C2-BB68-526DF4DD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62714C7-F86A-416A-821E-EA7608779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10195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B93E1C7-13FF-49E7-A6DE-639FADE38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68D4DD2-A8E2-4D76-A7EF-CEF038C163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9D4C1AE-5BAF-459D-BE55-C063963135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F582D95-8CA1-419F-8094-D8B2992CC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3376FCB-F595-437B-8AB2-C56802643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7A08DED-C352-45DF-9BDC-A487017A2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330771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F347FCB-4FBB-4F4B-9AFA-4C6784F32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C715E3-BAC5-4807-AA72-619C4E4AA1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3870D2C-7142-454A-AA1B-A176837E66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EAEA52C5-8F0F-4488-B7F9-B201CCFCCC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5567C24A-2E3D-4185-8C18-4FB5C2D76A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297C7633-D090-4A6D-B9CE-361F3CF67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3DD476EE-60B0-4159-AACA-75E6021557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B0A4B19E-E9F4-4383-B68E-B30101F5E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269425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A3F99C-332A-4AB0-8172-2FE507741A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8891989-F178-41D6-989A-1FA095A2C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B283AEA-47C2-4AA1-9AD9-A959DEF6A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D430CCF-42E1-4D67-86E8-C92E4E60A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739122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CA0B605-12E6-48A4-BE49-8535596FB7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B3F5CA9-2A4C-4190-997E-3E6F5B42A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BF898F0-CF5F-4301-8358-E1A86EA45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642797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B52BD4-87B8-40E9-8F4C-3D5FB1A8C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419E437-99FF-4597-AFCD-3BC65B85AA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B6C2787-A0F7-41DF-9086-F0DC254EB4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30D6836-06C2-447E-970A-47D10D3CC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8C5037C-7D2D-4B1D-A9FF-22EB63FCA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227C8B7-51D1-4699-8438-C3EC5078E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8415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23E68D-436E-4CCA-9132-E98BCB4A2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54A3A971-A167-4398-8D65-72D1AF4555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4777FA0-0EFA-4367-99BA-E88D3F71C0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8363B1B-A9D0-4D69-A16C-D03C83C02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A959F00-E5A6-448F-9CBF-0FB0D9FC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7FD8D73-94E3-4D4B-8E5E-0DB51B8D0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34341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CCCA4540-F461-45CF-BF35-C587A39C3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14322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Diapositiva de think-cell" r:id="rId16" imgW="360" imgH="360" progId="TCLayout.ActiveDocument.1">
                  <p:embed/>
                </p:oleObj>
              </mc:Choice>
              <mc:Fallback>
                <p:oleObj name="Diapositiva de think-cell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8EE4B28-6D16-4015-AB52-7451C8181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AR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12F4E10-7BA5-4AF3-A039-0D1F2B0B05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587AC26-E323-4D22-97E2-E2C66ECAC4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139AAF-85F3-43CB-9B06-66312580C35C}" type="datetimeFigureOut">
              <a:rPr lang="es-AR" smtClean="0"/>
              <a:t>7/12/2021</a:t>
            </a:fld>
            <a:endParaRPr lang="es-AR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F22B6C4-D983-49D2-B698-5698EFDA34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4D923D1-4617-4A76-8885-F2A0135347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A59CC8-E36A-4331-A32A-4B47C1D371FD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8127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sanofi.zoom.com/webinar/register/WN_jS8SLXYUTNGciEXbZ0GvJw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8770ADF-992F-4970-885B-0BBCE1815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184D842E-413F-42C0-A97B-5783FA36A180}"/>
              </a:ext>
            </a:extLst>
          </p:cNvPr>
          <p:cNvSpPr/>
          <p:nvPr/>
        </p:nvSpPr>
        <p:spPr>
          <a:xfrm>
            <a:off x="1190625" y="5324475"/>
            <a:ext cx="1905000" cy="457200"/>
          </a:xfrm>
          <a:prstGeom prst="roundRect">
            <a:avLst>
              <a:gd name="adj" fmla="val 41667"/>
            </a:avLst>
          </a:prstGeom>
          <a:solidFill>
            <a:srgbClr val="128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b="1" dirty="0">
                <a:solidFill>
                  <a:schemeClr val="bg1"/>
                </a:solidFill>
              </a:rPr>
              <a:t>INSCRIBITE ACÁ</a:t>
            </a:r>
          </a:p>
        </p:txBody>
      </p:sp>
      <p:pic>
        <p:nvPicPr>
          <p:cNvPr id="6" name="Imagen 5">
            <a:hlinkClick r:id="rId2"/>
            <a:extLst>
              <a:ext uri="{FF2B5EF4-FFF2-40B4-BE49-F238E27FC236}">
                <a16:creationId xmlns:a16="http://schemas.microsoft.com/office/drawing/2014/main" id="{AA24F306-028C-4047-8D1A-5550D35F55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484" t="80268" r="75601" b="17518"/>
          <a:stretch/>
        </p:blipFill>
        <p:spPr>
          <a:xfrm>
            <a:off x="0" y="6091238"/>
            <a:ext cx="2371725" cy="766761"/>
          </a:xfrm>
          <a:prstGeom prst="rect">
            <a:avLst/>
          </a:prstGeom>
        </p:spPr>
      </p:pic>
      <p:pic>
        <p:nvPicPr>
          <p:cNvPr id="8" name="Imagen 7">
            <a:hlinkClick r:id="rId2"/>
            <a:extLst>
              <a:ext uri="{FF2B5EF4-FFF2-40B4-BE49-F238E27FC236}">
                <a16:creationId xmlns:a16="http://schemas.microsoft.com/office/drawing/2014/main" id="{0A79BE2E-E44C-4AF1-85D2-33E2C0BFD5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432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</TotalTime>
  <Words>2</Words>
  <Application>Microsoft Office PowerPoint</Application>
  <PresentationFormat>Panorámica</PresentationFormat>
  <Paragraphs>1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rebuchet MS</vt:lpstr>
      <vt:lpstr>Tema de Office</vt:lpstr>
      <vt:lpstr>Diapositiva de think-cell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-administración de la vacuna antigripal &amp; COVID-19</dc:title>
  <dc:creator>Martinez, Rocio Ines /AR</dc:creator>
  <cp:lastModifiedBy>Martinez, Rocio Ines /AR</cp:lastModifiedBy>
  <cp:revision>8</cp:revision>
  <dcterms:created xsi:type="dcterms:W3CDTF">2021-12-06T18:44:15Z</dcterms:created>
  <dcterms:modified xsi:type="dcterms:W3CDTF">2021-12-07T21:11:55Z</dcterms:modified>
</cp:coreProperties>
</file>